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963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F9F9"/>
    <a:srgbClr val="009C9E"/>
    <a:srgbClr val="30477B"/>
    <a:srgbClr val="15636B"/>
    <a:srgbClr val="1266AE"/>
    <a:srgbClr val="00B050"/>
    <a:srgbClr val="7F7F7F"/>
    <a:srgbClr val="AABF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782F63-F1E0-A0DC-2700-BF90FEE196C4}" v="28" dt="2020-04-20T14:22:44.317"/>
    <p1510:client id="{8F7077DC-051B-4A2F-8522-090824892CC4}" v="80" dt="2020-05-01T11:12:42.736"/>
    <p1510:client id="{B96BB217-5227-9CD2-B6E1-F0A0F9A35EDA}" v="1" dt="2020-04-21T14:22:40.624"/>
    <p1510:client id="{BBCF84C7-BF21-6DD9-2582-04629F687720}" v="1" dt="2020-04-22T08:11:58.197"/>
    <p1510:client id="{EB1668D7-50C1-08A9-3B6A-B699BE7B7ED5}" v="32" dt="2020-04-20T14:29:58.7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on Campbell" userId="S::jason.campbell@scottishwater.co.uk::f69c5f4b-6785-4bd2-ab73-f8f00059d5f7" providerId="AD" clId="Web-{B96BB217-5227-9CD2-B6E1-F0A0F9A35EDA}"/>
    <pc:docChg chg="modSld">
      <pc:chgData name="Jason Campbell" userId="S::jason.campbell@scottishwater.co.uk::f69c5f4b-6785-4bd2-ab73-f8f00059d5f7" providerId="AD" clId="Web-{B96BB217-5227-9CD2-B6E1-F0A0F9A35EDA}" dt="2020-04-21T14:22:40.624" v="0" actId="1076"/>
      <pc:docMkLst>
        <pc:docMk/>
      </pc:docMkLst>
      <pc:sldChg chg="modSp">
        <pc:chgData name="Jason Campbell" userId="S::jason.campbell@scottishwater.co.uk::f69c5f4b-6785-4bd2-ab73-f8f00059d5f7" providerId="AD" clId="Web-{B96BB217-5227-9CD2-B6E1-F0A0F9A35EDA}" dt="2020-04-21T14:22:40.624" v="0" actId="1076"/>
        <pc:sldMkLst>
          <pc:docMk/>
          <pc:sldMk cId="1906850363" sldId="963"/>
        </pc:sldMkLst>
        <pc:picChg chg="mod">
          <ac:chgData name="Jason Campbell" userId="S::jason.campbell@scottishwater.co.uk::f69c5f4b-6785-4bd2-ab73-f8f00059d5f7" providerId="AD" clId="Web-{B96BB217-5227-9CD2-B6E1-F0A0F9A35EDA}" dt="2020-04-21T14:22:40.624" v="0" actId="1076"/>
          <ac:picMkLst>
            <pc:docMk/>
            <pc:sldMk cId="1906850363" sldId="963"/>
            <ac:picMk id="2" creationId="{3EAAB83A-B0E1-4D7D-910C-B1F9A7E5AC93}"/>
          </ac:picMkLst>
        </pc:picChg>
      </pc:sldChg>
    </pc:docChg>
  </pc:docChgLst>
  <pc:docChgLst>
    <pc:chgData name="Donna Davidson" userId="S::donna.davidson@scottishwater.co.uk::0aae00e1-55fa-475e-9112-9c622fe8561c" providerId="AD" clId="Web-{8F7077DC-051B-4A2F-8522-090824892CC4}"/>
    <pc:docChg chg="delSld modSld">
      <pc:chgData name="Donna Davidson" userId="S::donna.davidson@scottishwater.co.uk::0aae00e1-55fa-475e-9112-9c622fe8561c" providerId="AD" clId="Web-{8F7077DC-051B-4A2F-8522-090824892CC4}" dt="2020-05-01T11:12:42.736" v="77"/>
      <pc:docMkLst>
        <pc:docMk/>
      </pc:docMkLst>
      <pc:sldChg chg="modSp">
        <pc:chgData name="Donna Davidson" userId="S::donna.davidson@scottishwater.co.uk::0aae00e1-55fa-475e-9112-9c622fe8561c" providerId="AD" clId="Web-{8F7077DC-051B-4A2F-8522-090824892CC4}" dt="2020-05-01T11:12:40.642" v="75" actId="20577"/>
        <pc:sldMkLst>
          <pc:docMk/>
          <pc:sldMk cId="1906850363" sldId="963"/>
        </pc:sldMkLst>
        <pc:spChg chg="mod">
          <ac:chgData name="Donna Davidson" userId="S::donna.davidson@scottishwater.co.uk::0aae00e1-55fa-475e-9112-9c622fe8561c" providerId="AD" clId="Web-{8F7077DC-051B-4A2F-8522-090824892CC4}" dt="2020-05-01T11:12:21.502" v="22" actId="20577"/>
          <ac:spMkLst>
            <pc:docMk/>
            <pc:sldMk cId="1906850363" sldId="963"/>
            <ac:spMk id="4" creationId="{2EB307F1-AD26-456B-99EA-5EB0203BE26B}"/>
          </ac:spMkLst>
        </pc:spChg>
        <pc:spChg chg="mod">
          <ac:chgData name="Donna Davidson" userId="S::donna.davidson@scottishwater.co.uk::0aae00e1-55fa-475e-9112-9c622fe8561c" providerId="AD" clId="Web-{8F7077DC-051B-4A2F-8522-090824892CC4}" dt="2020-05-01T11:12:40.642" v="75" actId="20577"/>
          <ac:spMkLst>
            <pc:docMk/>
            <pc:sldMk cId="1906850363" sldId="963"/>
            <ac:spMk id="11" creationId="{B1536BDB-C720-42EC-9677-457ED837018F}"/>
          </ac:spMkLst>
        </pc:spChg>
      </pc:sldChg>
      <pc:sldChg chg="del">
        <pc:chgData name="Donna Davidson" userId="S::donna.davidson@scottishwater.co.uk::0aae00e1-55fa-475e-9112-9c622fe8561c" providerId="AD" clId="Web-{8F7077DC-051B-4A2F-8522-090824892CC4}" dt="2020-05-01T11:12:42.736" v="77"/>
        <pc:sldMkLst>
          <pc:docMk/>
          <pc:sldMk cId="2933126544" sldId="965"/>
        </pc:sldMkLst>
      </pc:sldChg>
    </pc:docChg>
  </pc:docChgLst>
  <pc:docChgLst>
    <pc:chgData name="Donna Davidson" userId="S::donna.davidson@scottishwater.co.uk::0aae00e1-55fa-475e-9112-9c622fe8561c" providerId="AD" clId="Web-{29782F63-F1E0-A0DC-2700-BF90FEE196C4}"/>
    <pc:docChg chg="delSld modSld">
      <pc:chgData name="Donna Davidson" userId="S::donna.davidson@scottishwater.co.uk::0aae00e1-55fa-475e-9112-9c622fe8561c" providerId="AD" clId="Web-{29782F63-F1E0-A0DC-2700-BF90FEE196C4}" dt="2020-04-20T14:22:42.208" v="26" actId="20577"/>
      <pc:docMkLst>
        <pc:docMk/>
      </pc:docMkLst>
      <pc:sldChg chg="del">
        <pc:chgData name="Donna Davidson" userId="S::donna.davidson@scottishwater.co.uk::0aae00e1-55fa-475e-9112-9c622fe8561c" providerId="AD" clId="Web-{29782F63-F1E0-A0DC-2700-BF90FEE196C4}" dt="2020-04-20T14:21:55.254" v="1"/>
        <pc:sldMkLst>
          <pc:docMk/>
          <pc:sldMk cId="3434803872" sldId="259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15.004" v="3"/>
        <pc:sldMkLst>
          <pc:docMk/>
          <pc:sldMk cId="3690167976" sldId="594"/>
        </pc:sldMkLst>
      </pc:sldChg>
      <pc:sldChg chg="modSp">
        <pc:chgData name="Donna Davidson" userId="S::donna.davidson@scottishwater.co.uk::0aae00e1-55fa-475e-9112-9c622fe8561c" providerId="AD" clId="Web-{29782F63-F1E0-A0DC-2700-BF90FEE196C4}" dt="2020-04-20T14:22:42.208" v="26" actId="20577"/>
        <pc:sldMkLst>
          <pc:docMk/>
          <pc:sldMk cId="0" sldId="881"/>
        </pc:sldMkLst>
        <pc:spChg chg="mod">
          <ac:chgData name="Donna Davidson" userId="S::donna.davidson@scottishwater.co.uk::0aae00e1-55fa-475e-9112-9c622fe8561c" providerId="AD" clId="Web-{29782F63-F1E0-A0DC-2700-BF90FEE196C4}" dt="2020-04-20T14:22:42.208" v="26" actId="20577"/>
          <ac:spMkLst>
            <pc:docMk/>
            <pc:sldMk cId="0" sldId="881"/>
            <ac:spMk id="5" creationId="{549BFE71-0FCA-4B61-BD94-6E0B8AB309DD}"/>
          </ac:spMkLst>
        </pc:spChg>
      </pc:sldChg>
      <pc:sldChg chg="del">
        <pc:chgData name="Donna Davidson" userId="S::donna.davidson@scottishwater.co.uk::0aae00e1-55fa-475e-9112-9c622fe8561c" providerId="AD" clId="Web-{29782F63-F1E0-A0DC-2700-BF90FEE196C4}" dt="2020-04-20T14:21:54.332" v="0"/>
        <pc:sldMkLst>
          <pc:docMk/>
          <pc:sldMk cId="1657920121" sldId="951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17.160" v="4"/>
        <pc:sldMkLst>
          <pc:docMk/>
          <pc:sldMk cId="1855853468" sldId="952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19.348" v="6"/>
        <pc:sldMkLst>
          <pc:docMk/>
          <pc:sldMk cId="60250353" sldId="958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31.724" v="8"/>
        <pc:sldMkLst>
          <pc:docMk/>
          <pc:sldMk cId="36550233" sldId="960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18.254" v="5"/>
        <pc:sldMkLst>
          <pc:docMk/>
          <pc:sldMk cId="3939129761" sldId="961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02.691" v="2"/>
        <pc:sldMkLst>
          <pc:docMk/>
          <pc:sldMk cId="4042216229" sldId="962"/>
        </pc:sldMkLst>
      </pc:sldChg>
      <pc:sldChg chg="del">
        <pc:chgData name="Donna Davidson" userId="S::donna.davidson@scottishwater.co.uk::0aae00e1-55fa-475e-9112-9c622fe8561c" providerId="AD" clId="Web-{29782F63-F1E0-A0DC-2700-BF90FEE196C4}" dt="2020-04-20T14:22:29.082" v="7"/>
        <pc:sldMkLst>
          <pc:docMk/>
          <pc:sldMk cId="1639185566" sldId="964"/>
        </pc:sldMkLst>
      </pc:sldChg>
    </pc:docChg>
  </pc:docChgLst>
  <pc:docChgLst>
    <pc:chgData name="Donna Davidson" userId="S::donna.davidson@scottishwater.co.uk::0aae00e1-55fa-475e-9112-9c622fe8561c" providerId="AD" clId="Web-{EB1668D7-50C1-08A9-3B6A-B699BE7B7ED5}"/>
    <pc:docChg chg="modSld">
      <pc:chgData name="Donna Davidson" userId="S::donna.davidson@scottishwater.co.uk::0aae00e1-55fa-475e-9112-9c622fe8561c" providerId="AD" clId="Web-{EB1668D7-50C1-08A9-3B6A-B699BE7B7ED5}" dt="2020-04-20T14:29:57.812" v="30" actId="20577"/>
      <pc:docMkLst>
        <pc:docMk/>
      </pc:docMkLst>
      <pc:sldChg chg="modSp">
        <pc:chgData name="Donna Davidson" userId="S::donna.davidson@scottishwater.co.uk::0aae00e1-55fa-475e-9112-9c622fe8561c" providerId="AD" clId="Web-{EB1668D7-50C1-08A9-3B6A-B699BE7B7ED5}" dt="2020-04-20T14:29:57.812" v="30" actId="20577"/>
        <pc:sldMkLst>
          <pc:docMk/>
          <pc:sldMk cId="0" sldId="881"/>
        </pc:sldMkLst>
        <pc:spChg chg="mod">
          <ac:chgData name="Donna Davidson" userId="S::donna.davidson@scottishwater.co.uk::0aae00e1-55fa-475e-9112-9c622fe8561c" providerId="AD" clId="Web-{EB1668D7-50C1-08A9-3B6A-B699BE7B7ED5}" dt="2020-04-20T14:29:57.812" v="30" actId="20577"/>
          <ac:spMkLst>
            <pc:docMk/>
            <pc:sldMk cId="0" sldId="881"/>
            <ac:spMk id="5" creationId="{549BFE71-0FCA-4B61-BD94-6E0B8AB309DD}"/>
          </ac:spMkLst>
        </pc:spChg>
      </pc:sldChg>
    </pc:docChg>
  </pc:docChgLst>
  <pc:docChgLst>
    <pc:chgData name="Donna Davidson" userId="S::donna.davidson@scottishwater.co.uk::0aae00e1-55fa-475e-9112-9c622fe8561c" providerId="AD" clId="Web-{BBCF84C7-BF21-6DD9-2582-04629F687720}"/>
    <pc:docChg chg="delSld">
      <pc:chgData name="Donna Davidson" userId="S::donna.davidson@scottishwater.co.uk::0aae00e1-55fa-475e-9112-9c622fe8561c" providerId="AD" clId="Web-{BBCF84C7-BF21-6DD9-2582-04629F687720}" dt="2020-04-22T08:11:58.197" v="0"/>
      <pc:docMkLst>
        <pc:docMk/>
      </pc:docMkLst>
      <pc:sldChg chg="del">
        <pc:chgData name="Donna Davidson" userId="S::donna.davidson@scottishwater.co.uk::0aae00e1-55fa-475e-9112-9c622fe8561c" providerId="AD" clId="Web-{BBCF84C7-BF21-6DD9-2582-04629F687720}" dt="2020-04-22T08:11:58.197" v="0"/>
        <pc:sldMkLst>
          <pc:docMk/>
          <pc:sldMk cId="0" sldId="88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49D30D4-FD18-458E-9E57-799F59FAA5B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4B985E-3A32-4E3B-BAEC-F1932E6F739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59E161-37ED-4A5E-A0FA-0235FA2A418D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94FE30-A628-4C91-AC3B-2F1C1804A15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8BA198-CA2D-455A-9222-7FC45BFBAB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33D28B-CB31-47CD-8775-D4C640CAA8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8310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5B0A4E-C98F-45DF-AD75-4B86AFCE3F84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8330EE-793A-42B5-9AEF-EB41476317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230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8330EE-793A-42B5-9AEF-EB414763179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2171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15673-FB87-4A40-B629-1D8B5209BF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11F5FA-5C27-4EA8-B444-6ED5649483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6ACCF2-B3DE-4947-A08E-B19EA45B8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827E42-EBB3-4B5D-8733-199F7B217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4A7713-3BE8-4AC6-B37D-5C13CB69F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98811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DAE61-BDE3-4BE9-9785-5BC3D3A09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A1C91C-9674-4665-8158-FD9276C96E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451C2F-80BA-4587-8E3F-056FA137B2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D97EFB-BD4B-4908-A7BE-548098F41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53FE6-F013-4C51-B749-4E82897A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6454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9F18C6-FBA9-4204-B924-8C87DD1A28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EE01B4-8AAB-4509-AB83-0AC6F56E2A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046F9F-BFA5-400C-A87C-99AA58E370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97E09C-E9EC-4A91-AB8C-9BE5DA66F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ECD46B-72FD-4198-80CB-E3C7BCEF7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5371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90977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Topics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B047C7D-A708-4FE6-ACFB-34D2567A4E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5151" y="209856"/>
            <a:ext cx="899750" cy="43794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73447C-82A9-4519-B555-F88A2AFE7AE6}"/>
              </a:ext>
            </a:extLst>
          </p:cNvPr>
          <p:cNvCxnSpPr/>
          <p:nvPr userDrawn="1"/>
        </p:nvCxnSpPr>
        <p:spPr>
          <a:xfrm>
            <a:off x="11440678" y="161823"/>
            <a:ext cx="0" cy="48597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71496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 with Bullets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A9240F-8CB8-4944-A2F6-758B17228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9" b="35815"/>
          <a:stretch/>
        </p:blipFill>
        <p:spPr>
          <a:xfrm>
            <a:off x="227013" y="0"/>
            <a:ext cx="11964987" cy="6858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57F194-2B3F-4A81-848E-18C0009F12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200" y="0"/>
            <a:ext cx="8030076" cy="1105200"/>
          </a:xfrm>
          <a:prstGeom prst="rect">
            <a:avLst/>
          </a:prstGeom>
        </p:spPr>
        <p:txBody>
          <a:bodyPr lIns="0" rIns="0"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3000" cap="all" spc="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F9E2157D-6D46-4968-85FF-B09A395AB5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92474" y="1580228"/>
            <a:ext cx="5239630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0" spc="-110" baseline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16129A91-070F-4837-ABDB-188EE3F214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92474" y="2219592"/>
            <a:ext cx="5239630" cy="864096"/>
          </a:xfrm>
          <a:prstGeom prst="rect">
            <a:avLst/>
          </a:prstGeom>
        </p:spPr>
        <p:txBody>
          <a:bodyPr anchor="t"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spc="-11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60390DE9-0E12-4424-B6B2-E8678CCD77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92474" y="3167604"/>
            <a:ext cx="5239630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0" spc="-110" baseline="0">
                <a:solidFill>
                  <a:schemeClr val="accent4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E72FC0F2-39DF-43CE-AB14-D3643D73D7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92474" y="3806968"/>
            <a:ext cx="5239630" cy="864096"/>
          </a:xfrm>
          <a:prstGeom prst="rect">
            <a:avLst/>
          </a:prstGeom>
        </p:spPr>
        <p:txBody>
          <a:bodyPr anchor="t"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spc="-11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4F773354-68F2-4278-9B45-BA79615332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2474" y="4761073"/>
            <a:ext cx="5239630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0" spc="-110" baseline="0">
                <a:solidFill>
                  <a:schemeClr val="accent6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B2FA52D-D355-474E-B577-45420828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2474" y="5400437"/>
            <a:ext cx="5239630" cy="864096"/>
          </a:xfrm>
          <a:prstGeom prst="rect">
            <a:avLst/>
          </a:prstGeom>
        </p:spPr>
        <p:txBody>
          <a:bodyPr anchor="t"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spc="-11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04399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81699-7DA4-403B-90C8-6FE78BF89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F9BDD5-8CF6-44C6-A167-26E984229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6341FF-1CD9-4FDC-9B54-564E37DCAF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56FC7-DFE1-4920-8D51-DD8852046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FECD70-004A-4584-ACE8-405B140C3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296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39C1E-3D49-425C-A281-6C22ABAED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123AA3-ACC8-426A-92AC-7ED2C984D8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E39037-50F3-409B-A194-757153ED3F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A08386-3CC8-45A5-99AF-A34AA2C76A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CDFAA6-9FF3-45AD-B47B-86D8A823F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3767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B5ABF-E89E-4D6B-A665-2F2939108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675567-C5BB-4528-A1E2-BDE896E8CD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213B2A-F4F9-48D7-ACF3-D45BFE695C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469B62-D0E0-475B-9B30-C8A4C363D1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915462-F180-4D27-AA82-F0B585F0C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CCBAA8-A994-43DA-9DAD-FB9646F00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00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0E2456-BFE5-4EFD-A5AE-9320D029A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B9FF66-E0B2-4D5C-B9E6-6312DA5F9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D3B637-8322-42BD-8060-695667C558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045C6A-0FC4-451C-90E4-4E8E1BDDBA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605087-0330-4162-9622-50F59D1641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FC891C-19F6-4E51-9BAF-94582F98DD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A96256-47E9-4C71-8B68-45EAD898B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02AA4A-1647-405C-9275-D20BEB06C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4828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F6B14-9AA5-4401-A50F-6C2F0672A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A9F8AB-76DE-48EC-8D66-25C755EDAA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849FC-B055-47E8-B14D-0808AB1C3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17027-6956-4C64-B962-6F316D44D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1813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952E75-611D-4E42-AC0F-EC00DDD556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0101DF-FB3C-42C9-B471-16FA7F2F2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FED468-7A52-46FB-B0A1-74622FAA2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893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829E3-629F-4852-A45C-95EA1F670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887A6-1250-4D16-8E2D-DEA9402218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0B9783-CA89-472D-ABD9-DD281FE2EF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09B98A-EF6B-41AE-8C12-EB7AC14ED6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625410-048F-4AA6-80B0-441614B62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E2BD77-FC34-48B3-B1B5-2B22AF1F8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87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0242F-4277-45A1-8C37-F210CF10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F0E696-34AD-446E-AF1C-E1CD061E05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38E5CE-AA59-4980-8D59-D2BDEF8CF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5373FB-08DF-4B41-B967-DCAD723882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0E3FB0-D09E-43FC-838A-1DCDE31B5A52}" type="datetimeFigureOut">
              <a:rPr lang="en-GB" smtClean="0"/>
              <a:t>01/05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05489A-646D-4B54-A2E1-B23A79C84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9DB11A-C020-49DB-A799-D8C49D2A8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3067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FBAFCE-7E09-4822-8833-4B8C60EEF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2DB0BC-D4AD-4E7A-9813-B65A28342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105E72-1C57-451D-81DB-FD6F4D4E3D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8D75D1-4958-424D-9A49-A3A7A551D2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94480-89D2-48FD-A11F-669EF1F08B4D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05945882-D1AF-4079-91B1-3AD57507C2A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271" y="6721475"/>
            <a:ext cx="0" cy="106591"/>
          </a:xfrm>
          <a:prstGeom prst="line">
            <a:avLst/>
          </a:prstGeom>
          <a:solidFill>
            <a:sysClr val="windowText" lastClr="000000"/>
          </a:solidFill>
          <a:ln w="12700" cap="rnd" cmpd="sng" algn="ctr">
            <a:solidFill>
              <a:srgbClr val="0098CC"/>
            </a:solidFill>
            <a:prstDash val="solid"/>
            <a:round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03CC0423-DDC0-4DEB-A1C0-7736FB39C691}"/>
              </a:ext>
            </a:extLst>
          </p:cNvPr>
          <p:cNvSpPr/>
          <p:nvPr userDrawn="1"/>
        </p:nvSpPr>
        <p:spPr>
          <a:xfrm>
            <a:off x="-33864" y="6667048"/>
            <a:ext cx="188865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>
                <a:solidFill>
                  <a:schemeClr val="bg1">
                    <a:lumMod val="50000"/>
                  </a:schemeClr>
                </a:solidFill>
              </a:rPr>
              <a:t>2019   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Verdana"/>
                <a:cs typeface="Arial" panose="020B0604020202020204" pitchFamily="34" charset="0"/>
              </a:rPr>
              <a:t>© </a:t>
            </a:r>
            <a:r>
              <a:rPr lang="en-GB" sz="800">
                <a:solidFill>
                  <a:schemeClr val="bg1">
                    <a:lumMod val="50000"/>
                  </a:schemeClr>
                </a:solidFill>
              </a:rPr>
              <a:t>Capgemini. All rights reserved</a:t>
            </a:r>
            <a:r>
              <a:rPr lang="en-GB" sz="80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0235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5EA18E-199B-4DF5-9543-9781F7572FB5}"/>
              </a:ext>
            </a:extLst>
          </p:cNvPr>
          <p:cNvSpPr/>
          <p:nvPr/>
        </p:nvSpPr>
        <p:spPr>
          <a:xfrm>
            <a:off x="-6001" y="9625"/>
            <a:ext cx="12313093" cy="7166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BC8511-E7C0-474F-B881-45F100122F0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20" t="2649" b="35815"/>
          <a:stretch/>
        </p:blipFill>
        <p:spPr>
          <a:xfrm>
            <a:off x="0" y="3055178"/>
            <a:ext cx="6015868" cy="42570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72D0F6-E82D-45AC-9CFD-575A768734A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9" b="35815"/>
          <a:stretch/>
        </p:blipFill>
        <p:spPr>
          <a:xfrm>
            <a:off x="323215" y="3029008"/>
            <a:ext cx="11964987" cy="425709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EB307F1-AD26-456B-99EA-5EB0203BE26B}"/>
              </a:ext>
            </a:extLst>
          </p:cNvPr>
          <p:cNvSpPr/>
          <p:nvPr/>
        </p:nvSpPr>
        <p:spPr>
          <a:xfrm>
            <a:off x="0" y="106173"/>
            <a:ext cx="12192000" cy="765931"/>
          </a:xfrm>
          <a:prstGeom prst="rect">
            <a:avLst/>
          </a:prstGeom>
          <a:solidFill>
            <a:srgbClr val="1266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latin typeface="Verdana"/>
                <a:ea typeface="Verdana"/>
                <a:cs typeface="Verdana"/>
              </a:rPr>
              <a:t>A General Overview of the Customer Portal</a:t>
            </a:r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2FA91A0-08F5-4C62-B64D-AD53AD6AA889}"/>
              </a:ext>
            </a:extLst>
          </p:cNvPr>
          <p:cNvSpPr/>
          <p:nvPr/>
        </p:nvSpPr>
        <p:spPr>
          <a:xfrm>
            <a:off x="164387" y="1142999"/>
            <a:ext cx="2293711" cy="5196155"/>
          </a:xfrm>
          <a:prstGeom prst="roundRect">
            <a:avLst/>
          </a:prstGeom>
          <a:solidFill>
            <a:srgbClr val="1266AE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536BDB-C720-42EC-9677-457ED837018F}"/>
              </a:ext>
            </a:extLst>
          </p:cNvPr>
          <p:cNvSpPr/>
          <p:nvPr/>
        </p:nvSpPr>
        <p:spPr>
          <a:xfrm>
            <a:off x="220739" y="3055178"/>
            <a:ext cx="2108353" cy="193899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GB" sz="2400" b="1" dirty="0">
                <a:solidFill>
                  <a:srgbClr val="15636B"/>
                </a:solidFill>
                <a:latin typeface="Verdana"/>
                <a:ea typeface="Verdana"/>
                <a:cs typeface="Verdana"/>
              </a:rPr>
              <a:t>Please note: this video was prepared in 2019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0A9CB36-8E69-442E-BBEB-FCCA96BFB8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42508" y="196051"/>
            <a:ext cx="1813455" cy="576560"/>
          </a:xfrm>
          <a:prstGeom prst="rect">
            <a:avLst/>
          </a:prstGeom>
        </p:spPr>
      </p:pic>
      <p:grpSp>
        <p:nvGrpSpPr>
          <p:cNvPr id="31" name="Groupe 23">
            <a:extLst>
              <a:ext uri="{FF2B5EF4-FFF2-40B4-BE49-F238E27FC236}">
                <a16:creationId xmlns:a16="http://schemas.microsoft.com/office/drawing/2014/main" id="{3F737949-7CFE-4E82-B0BC-268617722561}"/>
              </a:ext>
            </a:extLst>
          </p:cNvPr>
          <p:cNvGrpSpPr>
            <a:grpSpLocks noChangeAspect="1"/>
          </p:cNvGrpSpPr>
          <p:nvPr/>
        </p:nvGrpSpPr>
        <p:grpSpPr>
          <a:xfrm>
            <a:off x="384697" y="1221438"/>
            <a:ext cx="1780438" cy="1459503"/>
            <a:chOff x="5074817" y="2618381"/>
            <a:chExt cx="902946" cy="848014"/>
          </a:xfrm>
        </p:grpSpPr>
        <p:sp>
          <p:nvSpPr>
            <p:cNvPr id="32" name="Freeform 87">
              <a:extLst>
                <a:ext uri="{FF2B5EF4-FFF2-40B4-BE49-F238E27FC236}">
                  <a16:creationId xmlns:a16="http://schemas.microsoft.com/office/drawing/2014/main" id="{9F5C5BD7-AA6C-42E4-A73A-E6AA8AEB3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4817" y="2618381"/>
              <a:ext cx="902946" cy="848014"/>
            </a:xfrm>
            <a:custGeom>
              <a:avLst/>
              <a:gdLst>
                <a:gd name="T0" fmla="*/ 62 w 433"/>
                <a:gd name="T1" fmla="*/ 316 h 404"/>
                <a:gd name="T2" fmla="*/ 104 w 433"/>
                <a:gd name="T3" fmla="*/ 60 h 404"/>
                <a:gd name="T4" fmla="*/ 371 w 433"/>
                <a:gd name="T5" fmla="*/ 98 h 404"/>
                <a:gd name="T6" fmla="*/ 322 w 433"/>
                <a:gd name="T7" fmla="*/ 344 h 404"/>
                <a:gd name="T8" fmla="*/ 62 w 433"/>
                <a:gd name="T9" fmla="*/ 316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3" h="404">
                  <a:moveTo>
                    <a:pt x="62" y="316"/>
                  </a:moveTo>
                  <a:cubicBezTo>
                    <a:pt x="0" y="235"/>
                    <a:pt x="18" y="120"/>
                    <a:pt x="104" y="60"/>
                  </a:cubicBezTo>
                  <a:cubicBezTo>
                    <a:pt x="189" y="0"/>
                    <a:pt x="308" y="17"/>
                    <a:pt x="371" y="98"/>
                  </a:cubicBezTo>
                  <a:cubicBezTo>
                    <a:pt x="433" y="179"/>
                    <a:pt x="407" y="284"/>
                    <a:pt x="322" y="344"/>
                  </a:cubicBezTo>
                  <a:cubicBezTo>
                    <a:pt x="237" y="404"/>
                    <a:pt x="124" y="397"/>
                    <a:pt x="62" y="316"/>
                  </a:cubicBezTo>
                </a:path>
              </a:pathLst>
            </a:custGeom>
            <a:solidFill>
              <a:srgbClr val="15636B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33" name="Group 791">
              <a:extLst>
                <a:ext uri="{FF2B5EF4-FFF2-40B4-BE49-F238E27FC236}">
                  <a16:creationId xmlns:a16="http://schemas.microsoft.com/office/drawing/2014/main" id="{A0D74CB5-E65C-4599-85DD-8B8F3B384278}"/>
                </a:ext>
              </a:extLst>
            </p:cNvPr>
            <p:cNvGrpSpPr/>
            <p:nvPr/>
          </p:nvGrpSpPr>
          <p:grpSpPr>
            <a:xfrm>
              <a:off x="5282634" y="2885894"/>
              <a:ext cx="465330" cy="375876"/>
              <a:chOff x="670992" y="3571739"/>
              <a:chExt cx="355610" cy="287248"/>
            </a:xfrm>
          </p:grpSpPr>
          <p:sp>
            <p:nvSpPr>
              <p:cNvPr id="34" name="Rectangle 92">
                <a:extLst>
                  <a:ext uri="{FF2B5EF4-FFF2-40B4-BE49-F238E27FC236}">
                    <a16:creationId xmlns:a16="http://schemas.microsoft.com/office/drawing/2014/main" id="{4BC5089F-AEB9-4446-B4B7-549B834AC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0992" y="3571739"/>
                <a:ext cx="355610" cy="2872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" name="Freeform 93">
                <a:extLst>
                  <a:ext uri="{FF2B5EF4-FFF2-40B4-BE49-F238E27FC236}">
                    <a16:creationId xmlns:a16="http://schemas.microsoft.com/office/drawing/2014/main" id="{1CC8BF5A-5D9C-4BFC-AB6B-87E92BB7C4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785" y="3590044"/>
                <a:ext cx="313688" cy="252046"/>
              </a:xfrm>
              <a:custGeom>
                <a:avLst/>
                <a:gdLst>
                  <a:gd name="T0" fmla="*/ 0 w 217"/>
                  <a:gd name="T1" fmla="*/ 16 h 179"/>
                  <a:gd name="T2" fmla="*/ 21 w 217"/>
                  <a:gd name="T3" fmla="*/ 0 h 179"/>
                  <a:gd name="T4" fmla="*/ 53 w 217"/>
                  <a:gd name="T5" fmla="*/ 0 h 179"/>
                  <a:gd name="T6" fmla="*/ 32 w 217"/>
                  <a:gd name="T7" fmla="*/ 16 h 179"/>
                  <a:gd name="T8" fmla="*/ 53 w 217"/>
                  <a:gd name="T9" fmla="*/ 0 h 179"/>
                  <a:gd name="T10" fmla="*/ 65 w 217"/>
                  <a:gd name="T11" fmla="*/ 0 h 179"/>
                  <a:gd name="T12" fmla="*/ 85 w 217"/>
                  <a:gd name="T13" fmla="*/ 16 h 179"/>
                  <a:gd name="T14" fmla="*/ 119 w 217"/>
                  <a:gd name="T15" fmla="*/ 0 h 179"/>
                  <a:gd name="T16" fmla="*/ 98 w 217"/>
                  <a:gd name="T17" fmla="*/ 16 h 179"/>
                  <a:gd name="T18" fmla="*/ 119 w 217"/>
                  <a:gd name="T19" fmla="*/ 0 h 179"/>
                  <a:gd name="T20" fmla="*/ 130 w 217"/>
                  <a:gd name="T21" fmla="*/ 0 h 179"/>
                  <a:gd name="T22" fmla="*/ 151 w 217"/>
                  <a:gd name="T23" fmla="*/ 16 h 179"/>
                  <a:gd name="T24" fmla="*/ 183 w 217"/>
                  <a:gd name="T25" fmla="*/ 0 h 179"/>
                  <a:gd name="T26" fmla="*/ 163 w 217"/>
                  <a:gd name="T27" fmla="*/ 16 h 179"/>
                  <a:gd name="T28" fmla="*/ 183 w 217"/>
                  <a:gd name="T29" fmla="*/ 0 h 179"/>
                  <a:gd name="T30" fmla="*/ 196 w 217"/>
                  <a:gd name="T31" fmla="*/ 0 h 179"/>
                  <a:gd name="T32" fmla="*/ 217 w 217"/>
                  <a:gd name="T33" fmla="*/ 16 h 179"/>
                  <a:gd name="T34" fmla="*/ 21 w 217"/>
                  <a:gd name="T35" fmla="*/ 162 h 179"/>
                  <a:gd name="T36" fmla="*/ 0 w 217"/>
                  <a:gd name="T37" fmla="*/ 179 h 179"/>
                  <a:gd name="T38" fmla="*/ 21 w 217"/>
                  <a:gd name="T39" fmla="*/ 162 h 179"/>
                  <a:gd name="T40" fmla="*/ 32 w 217"/>
                  <a:gd name="T41" fmla="*/ 162 h 179"/>
                  <a:gd name="T42" fmla="*/ 53 w 217"/>
                  <a:gd name="T43" fmla="*/ 179 h 179"/>
                  <a:gd name="T44" fmla="*/ 85 w 217"/>
                  <a:gd name="T45" fmla="*/ 162 h 179"/>
                  <a:gd name="T46" fmla="*/ 65 w 217"/>
                  <a:gd name="T47" fmla="*/ 179 h 179"/>
                  <a:gd name="T48" fmla="*/ 85 w 217"/>
                  <a:gd name="T49" fmla="*/ 162 h 179"/>
                  <a:gd name="T50" fmla="*/ 98 w 217"/>
                  <a:gd name="T51" fmla="*/ 162 h 179"/>
                  <a:gd name="T52" fmla="*/ 119 w 217"/>
                  <a:gd name="T53" fmla="*/ 179 h 179"/>
                  <a:gd name="T54" fmla="*/ 151 w 217"/>
                  <a:gd name="T55" fmla="*/ 162 h 179"/>
                  <a:gd name="T56" fmla="*/ 130 w 217"/>
                  <a:gd name="T57" fmla="*/ 179 h 179"/>
                  <a:gd name="T58" fmla="*/ 151 w 217"/>
                  <a:gd name="T59" fmla="*/ 162 h 179"/>
                  <a:gd name="T60" fmla="*/ 163 w 217"/>
                  <a:gd name="T61" fmla="*/ 162 h 179"/>
                  <a:gd name="T62" fmla="*/ 183 w 217"/>
                  <a:gd name="T63" fmla="*/ 179 h 179"/>
                  <a:gd name="T64" fmla="*/ 217 w 217"/>
                  <a:gd name="T65" fmla="*/ 162 h 179"/>
                  <a:gd name="T66" fmla="*/ 196 w 217"/>
                  <a:gd name="T67" fmla="*/ 179 h 179"/>
                  <a:gd name="T68" fmla="*/ 217 w 217"/>
                  <a:gd name="T69" fmla="*/ 162 h 179"/>
                  <a:gd name="T70" fmla="*/ 12 w 217"/>
                  <a:gd name="T71" fmla="*/ 28 h 179"/>
                  <a:gd name="T72" fmla="*/ 208 w 217"/>
                  <a:gd name="T73" fmla="*/ 151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17" h="179">
                    <a:moveTo>
                      <a:pt x="21" y="16"/>
                    </a:moveTo>
                    <a:lnTo>
                      <a:pt x="0" y="16"/>
                    </a:lnTo>
                    <a:lnTo>
                      <a:pt x="0" y="0"/>
                    </a:lnTo>
                    <a:lnTo>
                      <a:pt x="21" y="0"/>
                    </a:lnTo>
                    <a:lnTo>
                      <a:pt x="21" y="16"/>
                    </a:lnTo>
                    <a:close/>
                    <a:moveTo>
                      <a:pt x="53" y="0"/>
                    </a:moveTo>
                    <a:lnTo>
                      <a:pt x="32" y="0"/>
                    </a:lnTo>
                    <a:lnTo>
                      <a:pt x="32" y="16"/>
                    </a:lnTo>
                    <a:lnTo>
                      <a:pt x="53" y="16"/>
                    </a:lnTo>
                    <a:lnTo>
                      <a:pt x="53" y="0"/>
                    </a:lnTo>
                    <a:close/>
                    <a:moveTo>
                      <a:pt x="85" y="0"/>
                    </a:moveTo>
                    <a:lnTo>
                      <a:pt x="65" y="0"/>
                    </a:lnTo>
                    <a:lnTo>
                      <a:pt x="65" y="16"/>
                    </a:lnTo>
                    <a:lnTo>
                      <a:pt x="85" y="16"/>
                    </a:lnTo>
                    <a:lnTo>
                      <a:pt x="85" y="0"/>
                    </a:lnTo>
                    <a:close/>
                    <a:moveTo>
                      <a:pt x="119" y="0"/>
                    </a:moveTo>
                    <a:lnTo>
                      <a:pt x="98" y="0"/>
                    </a:lnTo>
                    <a:lnTo>
                      <a:pt x="98" y="16"/>
                    </a:lnTo>
                    <a:lnTo>
                      <a:pt x="119" y="16"/>
                    </a:lnTo>
                    <a:lnTo>
                      <a:pt x="119" y="0"/>
                    </a:lnTo>
                    <a:close/>
                    <a:moveTo>
                      <a:pt x="151" y="0"/>
                    </a:moveTo>
                    <a:lnTo>
                      <a:pt x="130" y="0"/>
                    </a:lnTo>
                    <a:lnTo>
                      <a:pt x="130" y="16"/>
                    </a:lnTo>
                    <a:lnTo>
                      <a:pt x="151" y="16"/>
                    </a:lnTo>
                    <a:lnTo>
                      <a:pt x="151" y="0"/>
                    </a:lnTo>
                    <a:close/>
                    <a:moveTo>
                      <a:pt x="183" y="0"/>
                    </a:moveTo>
                    <a:lnTo>
                      <a:pt x="163" y="0"/>
                    </a:lnTo>
                    <a:lnTo>
                      <a:pt x="163" y="16"/>
                    </a:lnTo>
                    <a:lnTo>
                      <a:pt x="183" y="16"/>
                    </a:lnTo>
                    <a:lnTo>
                      <a:pt x="183" y="0"/>
                    </a:lnTo>
                    <a:close/>
                    <a:moveTo>
                      <a:pt x="217" y="0"/>
                    </a:moveTo>
                    <a:lnTo>
                      <a:pt x="196" y="0"/>
                    </a:lnTo>
                    <a:lnTo>
                      <a:pt x="196" y="16"/>
                    </a:lnTo>
                    <a:lnTo>
                      <a:pt x="217" y="16"/>
                    </a:lnTo>
                    <a:lnTo>
                      <a:pt x="217" y="0"/>
                    </a:lnTo>
                    <a:close/>
                    <a:moveTo>
                      <a:pt x="21" y="162"/>
                    </a:moveTo>
                    <a:lnTo>
                      <a:pt x="0" y="162"/>
                    </a:lnTo>
                    <a:lnTo>
                      <a:pt x="0" y="179"/>
                    </a:lnTo>
                    <a:lnTo>
                      <a:pt x="21" y="179"/>
                    </a:lnTo>
                    <a:lnTo>
                      <a:pt x="21" y="162"/>
                    </a:lnTo>
                    <a:close/>
                    <a:moveTo>
                      <a:pt x="53" y="162"/>
                    </a:moveTo>
                    <a:lnTo>
                      <a:pt x="32" y="162"/>
                    </a:lnTo>
                    <a:lnTo>
                      <a:pt x="32" y="179"/>
                    </a:lnTo>
                    <a:lnTo>
                      <a:pt x="53" y="179"/>
                    </a:lnTo>
                    <a:lnTo>
                      <a:pt x="53" y="162"/>
                    </a:lnTo>
                    <a:close/>
                    <a:moveTo>
                      <a:pt x="85" y="162"/>
                    </a:moveTo>
                    <a:lnTo>
                      <a:pt x="65" y="162"/>
                    </a:lnTo>
                    <a:lnTo>
                      <a:pt x="65" y="179"/>
                    </a:lnTo>
                    <a:lnTo>
                      <a:pt x="85" y="179"/>
                    </a:lnTo>
                    <a:lnTo>
                      <a:pt x="85" y="162"/>
                    </a:lnTo>
                    <a:close/>
                    <a:moveTo>
                      <a:pt x="119" y="162"/>
                    </a:moveTo>
                    <a:lnTo>
                      <a:pt x="98" y="162"/>
                    </a:lnTo>
                    <a:lnTo>
                      <a:pt x="98" y="179"/>
                    </a:lnTo>
                    <a:lnTo>
                      <a:pt x="119" y="179"/>
                    </a:lnTo>
                    <a:lnTo>
                      <a:pt x="119" y="162"/>
                    </a:lnTo>
                    <a:close/>
                    <a:moveTo>
                      <a:pt x="151" y="162"/>
                    </a:moveTo>
                    <a:lnTo>
                      <a:pt x="130" y="162"/>
                    </a:lnTo>
                    <a:lnTo>
                      <a:pt x="130" y="179"/>
                    </a:lnTo>
                    <a:lnTo>
                      <a:pt x="151" y="179"/>
                    </a:lnTo>
                    <a:lnTo>
                      <a:pt x="151" y="162"/>
                    </a:lnTo>
                    <a:close/>
                    <a:moveTo>
                      <a:pt x="183" y="162"/>
                    </a:moveTo>
                    <a:lnTo>
                      <a:pt x="163" y="162"/>
                    </a:lnTo>
                    <a:lnTo>
                      <a:pt x="163" y="179"/>
                    </a:lnTo>
                    <a:lnTo>
                      <a:pt x="183" y="179"/>
                    </a:lnTo>
                    <a:lnTo>
                      <a:pt x="183" y="162"/>
                    </a:lnTo>
                    <a:close/>
                    <a:moveTo>
                      <a:pt x="217" y="162"/>
                    </a:moveTo>
                    <a:lnTo>
                      <a:pt x="196" y="162"/>
                    </a:lnTo>
                    <a:lnTo>
                      <a:pt x="196" y="179"/>
                    </a:lnTo>
                    <a:lnTo>
                      <a:pt x="217" y="179"/>
                    </a:lnTo>
                    <a:lnTo>
                      <a:pt x="217" y="162"/>
                    </a:lnTo>
                    <a:close/>
                    <a:moveTo>
                      <a:pt x="208" y="28"/>
                    </a:moveTo>
                    <a:lnTo>
                      <a:pt x="12" y="28"/>
                    </a:lnTo>
                    <a:lnTo>
                      <a:pt x="12" y="151"/>
                    </a:lnTo>
                    <a:lnTo>
                      <a:pt x="208" y="151"/>
                    </a:lnTo>
                    <a:lnTo>
                      <a:pt x="208" y="2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" name="Freeform 94">
                <a:extLst>
                  <a:ext uri="{FF2B5EF4-FFF2-40B4-BE49-F238E27FC236}">
                    <a16:creationId xmlns:a16="http://schemas.microsoft.com/office/drawing/2014/main" id="{85718E5E-0303-4797-AAD2-7021EC508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658" y="3663264"/>
                <a:ext cx="82397" cy="104198"/>
              </a:xfrm>
              <a:custGeom>
                <a:avLst/>
                <a:gdLst>
                  <a:gd name="T0" fmla="*/ 0 w 57"/>
                  <a:gd name="T1" fmla="*/ 74 h 74"/>
                  <a:gd name="T2" fmla="*/ 0 w 57"/>
                  <a:gd name="T3" fmla="*/ 0 h 74"/>
                  <a:gd name="T4" fmla="*/ 57 w 57"/>
                  <a:gd name="T5" fmla="*/ 37 h 74"/>
                  <a:gd name="T6" fmla="*/ 0 w 57"/>
                  <a:gd name="T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74">
                    <a:moveTo>
                      <a:pt x="0" y="74"/>
                    </a:moveTo>
                    <a:lnTo>
                      <a:pt x="0" y="0"/>
                    </a:lnTo>
                    <a:lnTo>
                      <a:pt x="57" y="37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253C57B4-91C5-4B67-B8AB-DD8A414C06E1}"/>
              </a:ext>
            </a:extLst>
          </p:cNvPr>
          <p:cNvSpPr txBox="1"/>
          <p:nvPr/>
        </p:nvSpPr>
        <p:spPr>
          <a:xfrm>
            <a:off x="5389598" y="6929854"/>
            <a:ext cx="37994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/>
              <a:t>Please keep in mind that the presented screens are subject to change</a:t>
            </a:r>
          </a:p>
        </p:txBody>
      </p:sp>
      <p:pic>
        <p:nvPicPr>
          <p:cNvPr id="2" name="Donna Davidson - 11 July 2019 16.59.42">
            <a:hlinkClick r:id="" action="ppaction://media"/>
            <a:extLst>
              <a:ext uri="{FF2B5EF4-FFF2-40B4-BE49-F238E27FC236}">
                <a16:creationId xmlns:a16="http://schemas.microsoft.com/office/drawing/2014/main" id="{3EAAB83A-B0E1-4D7D-910C-B1F9A7E5AC9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670513" y="1272395"/>
            <a:ext cx="9237609" cy="519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850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40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2B0A3D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3760b7e-8743-46c0-9542-cb4f3fad26ea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C46D9872683446A9F5E4571AC45265" ma:contentTypeVersion="12" ma:contentTypeDescription="Create a new document." ma:contentTypeScope="" ma:versionID="52c0fdfb89218be24bcd45d9a61de1b1">
  <xsd:schema xmlns:xsd="http://www.w3.org/2001/XMLSchema" xmlns:xs="http://www.w3.org/2001/XMLSchema" xmlns:p="http://schemas.microsoft.com/office/2006/metadata/properties" xmlns:ns2="2384ef50-3f2e-47d9-90fc-9142e52b8948" xmlns:ns3="13760b7e-8743-46c0-9542-cb4f3fad26ea" targetNamespace="http://schemas.microsoft.com/office/2006/metadata/properties" ma:root="true" ma:fieldsID="d5dc0b3258dd0ebc49bdafd67e65454e" ns2:_="" ns3:_="">
    <xsd:import namespace="2384ef50-3f2e-47d9-90fc-9142e52b8948"/>
    <xsd:import namespace="13760b7e-8743-46c0-9542-cb4f3fad26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84ef50-3f2e-47d9-90fc-9142e52b89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60b7e-8743-46c0-9542-cb4f3fad26ea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98DA41-8276-4668-8B4D-AEAF8FCE0547}">
  <ds:schemaRefs>
    <ds:schemaRef ds:uri="7aba0b23-d6f3-43d7-9394-29073cefb175"/>
    <ds:schemaRef ds:uri="http://schemas.microsoft.com/office/2006/metadata/properties"/>
    <ds:schemaRef ds:uri="http://schemas.microsoft.com/office/infopath/2007/PartnerControls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309543AC-C2BA-48F4-989F-3A9953D15C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84ef50-3f2e-47d9-90fc-9142e52b8948"/>
    <ds:schemaRef ds:uri="13760b7e-8743-46c0-9542-cb4f3fad26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96F9D0-E5B4-4EBA-9977-D82F60C3F9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tti, Aleksandra</dc:creator>
  <cp:revision>13</cp:revision>
  <dcterms:created xsi:type="dcterms:W3CDTF">2019-07-31T09:36:52Z</dcterms:created>
  <dcterms:modified xsi:type="dcterms:W3CDTF">2020-05-01T11:1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C46D9872683446A9F5E4571AC45265</vt:lpwstr>
  </property>
  <property fmtid="{D5CDD505-2E9C-101B-9397-08002B2CF9AE}" pid="3" name="TaxKeyword">
    <vt:lpwstr/>
  </property>
  <property fmtid="{D5CDD505-2E9C-101B-9397-08002B2CF9AE}" pid="4" name="Order">
    <vt:r8>371300</vt:r8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</Properties>
</file>